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sldIdLst>
    <p:sldId id="269" r:id="rId2"/>
    <p:sldId id="259" r:id="rId3"/>
    <p:sldId id="260" r:id="rId4"/>
    <p:sldId id="261" r:id="rId5"/>
    <p:sldId id="266" r:id="rId6"/>
    <p:sldId id="262" r:id="rId7"/>
    <p:sldId id="263" r:id="rId8"/>
    <p:sldId id="268" r:id="rId9"/>
    <p:sldId id="265" r:id="rId10"/>
    <p:sldId id="264" r:id="rId11"/>
    <p:sldId id="267" r:id="rId12"/>
  </p:sldIdLst>
  <p:sldSz cx="9144000" cy="6858000" type="screen4x3"/>
  <p:notesSz cx="6888163" cy="100203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0" d="100"/>
          <a:sy n="60" d="100"/>
        </p:scale>
        <p:origin x="1620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621" cy="502707"/>
          </a:xfrm>
          <a:prstGeom prst="rect">
            <a:avLst/>
          </a:prstGeom>
        </p:spPr>
        <p:txBody>
          <a:bodyPr vert="horz" lIns="92738" tIns="46369" rIns="92738" bIns="4636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0934" y="0"/>
            <a:ext cx="2985621" cy="502707"/>
          </a:xfrm>
          <a:prstGeom prst="rect">
            <a:avLst/>
          </a:prstGeom>
        </p:spPr>
        <p:txBody>
          <a:bodyPr vert="horz" lIns="92738" tIns="46369" rIns="92738" bIns="46369" rtlCol="0"/>
          <a:lstStyle>
            <a:lvl1pPr algn="r">
              <a:defRPr sz="1200"/>
            </a:lvl1pPr>
          </a:lstStyle>
          <a:p>
            <a:fld id="{62BB6F55-50D9-4029-BFE2-386E841F558D}" type="datetimeFigureOut">
              <a:rPr lang="en-GB" smtClean="0"/>
              <a:t>05/1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90625" y="1252538"/>
            <a:ext cx="4506913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738" tIns="46369" rIns="92738" bIns="4636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495" y="4822442"/>
            <a:ext cx="5511174" cy="3945925"/>
          </a:xfrm>
          <a:prstGeom prst="rect">
            <a:avLst/>
          </a:prstGeom>
        </p:spPr>
        <p:txBody>
          <a:bodyPr vert="horz" lIns="92738" tIns="46369" rIns="92738" bIns="4636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7593"/>
            <a:ext cx="2985621" cy="502707"/>
          </a:xfrm>
          <a:prstGeom prst="rect">
            <a:avLst/>
          </a:prstGeom>
        </p:spPr>
        <p:txBody>
          <a:bodyPr vert="horz" lIns="92738" tIns="46369" rIns="92738" bIns="4636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0934" y="9517593"/>
            <a:ext cx="2985621" cy="502707"/>
          </a:xfrm>
          <a:prstGeom prst="rect">
            <a:avLst/>
          </a:prstGeom>
        </p:spPr>
        <p:txBody>
          <a:bodyPr vert="horz" lIns="92738" tIns="46369" rIns="92738" bIns="46369" rtlCol="0" anchor="b"/>
          <a:lstStyle>
            <a:lvl1pPr algn="r">
              <a:defRPr sz="1200"/>
            </a:lvl1pPr>
          </a:lstStyle>
          <a:p>
            <a:fld id="{8AC1EA95-760C-4C13-AED6-E554FFAF252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693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2476" y="3741172"/>
            <a:ext cx="7772400" cy="459345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0483" y="4471335"/>
            <a:ext cx="4476750" cy="4363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>
                <a:solidFill>
                  <a:schemeClr val="bg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478835" y="4124826"/>
            <a:ext cx="6184432" cy="47261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solidFill>
                  <a:schemeClr val="bg2"/>
                </a:solidFill>
                <a:latin typeface="Arial"/>
                <a:cs typeface="Arial"/>
              </a:defRPr>
            </a:lvl1pPr>
            <a:lvl2pPr marL="457200" indent="0">
              <a:buNone/>
              <a:defRPr sz="1800">
                <a:solidFill>
                  <a:srgbClr val="007AA1"/>
                </a:solidFill>
                <a:latin typeface="Arial"/>
                <a:cs typeface="Arial"/>
              </a:defRPr>
            </a:lvl2pPr>
            <a:lvl3pPr marL="914400" indent="0">
              <a:buNone/>
              <a:defRPr sz="1800">
                <a:solidFill>
                  <a:srgbClr val="007AA1"/>
                </a:solidFill>
                <a:latin typeface="Arial"/>
                <a:cs typeface="Arial"/>
              </a:defRPr>
            </a:lvl3pPr>
            <a:lvl4pPr marL="1371600" indent="0">
              <a:buNone/>
              <a:defRPr sz="1800">
                <a:solidFill>
                  <a:srgbClr val="007AA1"/>
                </a:solidFill>
                <a:latin typeface="Arial"/>
                <a:cs typeface="Arial"/>
              </a:defRPr>
            </a:lvl4pPr>
            <a:lvl5pPr marL="1828800" indent="0">
              <a:buNone/>
              <a:defRPr sz="1800">
                <a:solidFill>
                  <a:srgbClr val="007AA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69863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0332490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65127" y="381004"/>
            <a:ext cx="7331075" cy="476249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368301" y="1832345"/>
            <a:ext cx="8467724" cy="397086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aseline="0"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401552" y="32650"/>
            <a:ext cx="24625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i="1" dirty="0">
                <a:solidFill>
                  <a:srgbClr val="FF0000"/>
                </a:solidFill>
                <a:cs typeface="Arial" panose="020B0604020202020204" pitchFamily="34" charset="0"/>
              </a:rPr>
              <a:t>Work in progress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30743621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65127" y="381004"/>
            <a:ext cx="7331075" cy="476249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1401552" y="32650"/>
            <a:ext cx="24625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i="1" dirty="0">
                <a:solidFill>
                  <a:srgbClr val="FF0000"/>
                </a:solidFill>
                <a:cs typeface="Arial" panose="020B0604020202020204" pitchFamily="34" charset="0"/>
              </a:rPr>
              <a:t>Work in progress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33128309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401552" y="32650"/>
            <a:ext cx="24625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i="1" dirty="0">
                <a:solidFill>
                  <a:srgbClr val="FF0000"/>
                </a:solidFill>
                <a:cs typeface="Arial" panose="020B0604020202020204" pitchFamily="34" charset="0"/>
              </a:rPr>
              <a:t>Work in progress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4844774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711701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401552" y="32650"/>
            <a:ext cx="24625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i="1" dirty="0">
                <a:solidFill>
                  <a:srgbClr val="FF0000"/>
                </a:solidFill>
                <a:cs typeface="Arial" panose="020B0604020202020204" pitchFamily="34" charset="0"/>
              </a:rPr>
              <a:t>Work in progress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6423509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9970114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6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401552" y="32650"/>
            <a:ext cx="24625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i="1" dirty="0">
                <a:solidFill>
                  <a:srgbClr val="FF0000"/>
                </a:solidFill>
                <a:cs typeface="Arial" panose="020B0604020202020204" pitchFamily="34" charset="0"/>
              </a:rPr>
              <a:t>Work in progress –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305625247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6847189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589950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88250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519619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06000" y="1173600"/>
            <a:ext cx="8492400" cy="5065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28848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8326291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16" imgH="216" progId="TCLayout.ActiveDocument.1">
                  <p:embed/>
                </p:oleObj>
              </mc:Choice>
              <mc:Fallback>
                <p:oleObj name="think-cell Slide" r:id="rId1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4021" y="360567"/>
            <a:ext cx="886048" cy="399201"/>
          </a:xfrm>
          <a:prstGeom prst="rect">
            <a:avLst/>
          </a:prstGeom>
        </p:spPr>
      </p:pic>
      <p:sp>
        <p:nvSpPr>
          <p:cNvPr id="10" name="Textfeld 10"/>
          <p:cNvSpPr txBox="1">
            <a:spLocks noChangeArrowheads="1"/>
          </p:cNvSpPr>
          <p:nvPr userDrawn="1"/>
        </p:nvSpPr>
        <p:spPr bwMode="auto">
          <a:xfrm>
            <a:off x="8562025" y="6583416"/>
            <a:ext cx="37782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r" defTabSz="457200" fontAlgn="base">
              <a:spcBef>
                <a:spcPct val="0"/>
              </a:spcBef>
              <a:spcAft>
                <a:spcPct val="0"/>
              </a:spcAft>
            </a:pPr>
            <a:fld id="{8C26627F-974C-1A4F-928C-D39FE973BC0F}" type="slidenum">
              <a:rPr lang="de-DE" sz="700">
                <a:solidFill>
                  <a:srgbClr val="0085CA"/>
                </a:solidFill>
                <a:latin typeface="Arial" charset="0"/>
                <a:cs typeface="Arial" charset="0"/>
              </a:rPr>
              <a:pPr algn="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700" dirty="0">
              <a:solidFill>
                <a:srgbClr val="0085CA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5538" y="381600"/>
            <a:ext cx="7330708" cy="475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8862" y="1832400"/>
            <a:ext cx="8467200" cy="410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428389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marL="0" marR="0" indent="0" algn="l" defTabSz="4572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tabLst/>
        <a:defRPr lang="en-US" sz="2400" kern="1200" dirty="0">
          <a:solidFill>
            <a:schemeClr val="accent3"/>
          </a:solidFill>
          <a:latin typeface="Arial"/>
          <a:ea typeface="ＭＳ Ｐゴシック" charset="0"/>
          <a:cs typeface="Arial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lang="en-US" sz="1400" b="1" i="0" kern="1200" dirty="0" smtClean="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Arial" panose="020B0604020202020204" pitchFamily="34" charset="0"/>
        <a:buChar char="•"/>
        <a:tabLst/>
        <a:defRPr lang="en-US" sz="1200" kern="1200" baseline="0" dirty="0" smtClean="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4400" marR="0" indent="-22860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Arial" pitchFamily="34" charset="0"/>
        <a:buChar char="–"/>
        <a:tabLst/>
        <a:defRPr lang="en-US" sz="1200" kern="1200" baseline="0" dirty="0" smtClean="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B48C62-773C-CD86-0BF3-140BDF949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siness Case - Acquisition</a:t>
            </a:r>
          </a:p>
        </p:txBody>
      </p:sp>
      <p:pic>
        <p:nvPicPr>
          <p:cNvPr id="6" name="Content Placeholder 5" descr="Logo&#10;&#10;Description automatically generated">
            <a:extLst>
              <a:ext uri="{FF2B5EF4-FFF2-40B4-BE49-F238E27FC236}">
                <a16:creationId xmlns:a16="http://schemas.microsoft.com/office/drawing/2014/main" id="{05EDE4C7-4B83-E5FD-79F6-CF1100C9ADF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600" y="1086000"/>
            <a:ext cx="5065632" cy="3712219"/>
          </a:xfr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4877D0A-4AF7-10BF-330B-77AB1CFDB5DA}"/>
              </a:ext>
            </a:extLst>
          </p:cNvPr>
          <p:cNvSpPr/>
          <p:nvPr/>
        </p:nvSpPr>
        <p:spPr>
          <a:xfrm>
            <a:off x="7620000" y="152400"/>
            <a:ext cx="1524000" cy="70440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>
              <a:solidFill>
                <a:schemeClr val="bg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9522D0F-8EB2-A31E-A327-7B941051ED5F}"/>
              </a:ext>
            </a:extLst>
          </p:cNvPr>
          <p:cNvSpPr txBox="1">
            <a:spLocks/>
          </p:cNvSpPr>
          <p:nvPr/>
        </p:nvSpPr>
        <p:spPr>
          <a:xfrm>
            <a:off x="2113716" y="5055128"/>
            <a:ext cx="4343400" cy="475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2400" kern="1200" dirty="0">
                <a:solidFill>
                  <a:schemeClr val="accent3"/>
                </a:solidFill>
                <a:latin typeface="Arial"/>
                <a:ea typeface="ＭＳ Ｐゴシック" charset="0"/>
                <a:cs typeface="Arial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GB" dirty="0"/>
              <a:t>Lefty Panayiotou – June 202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6ECF0B2-FD39-2D0D-4AC0-CB7D10B2F844}"/>
              </a:ext>
            </a:extLst>
          </p:cNvPr>
          <p:cNvSpPr txBox="1"/>
          <p:nvPr/>
        </p:nvSpPr>
        <p:spPr>
          <a:xfrm>
            <a:off x="914400" y="5530328"/>
            <a:ext cx="678184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>
                <a:latin typeface="Arial" panose="020B0604020202020204" pitchFamily="34" charset="0"/>
                <a:cs typeface="Arial" panose="020B0604020202020204" pitchFamily="34" charset="0"/>
              </a:rPr>
              <a:t>Disclaimer: Where Information provided includes Opinions and Interpretations of the Author or data sourced from other Information Providers – the Author provides no guarantee as to the correctness nor interpretation made, nor use of the information or comments to make investment decisions.</a:t>
            </a:r>
          </a:p>
        </p:txBody>
      </p:sp>
    </p:spTree>
    <p:extLst>
      <p:ext uri="{BB962C8B-B14F-4D97-AF65-F5344CB8AC3E}">
        <p14:creationId xmlns:p14="http://schemas.microsoft.com/office/powerpoint/2010/main" val="335795147"/>
      </p:ext>
    </p:extLst>
  </p:cSld>
  <p:clrMapOvr>
    <a:masterClrMapping/>
  </p:clrMapOvr>
  <p:transition spd="med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GB" dirty="0"/>
              <a:t>Possible Growth Strategies through further acquisition could include:</a:t>
            </a:r>
          </a:p>
          <a:p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Infrastructure savings with shared locations</a:t>
            </a:r>
          </a:p>
          <a:p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Shared centralised resource – Legal, HR, Finance, Marketing, bidding, </a:t>
            </a:r>
            <a:r>
              <a:rPr lang="en-GB" b="0" dirty="0" err="1"/>
              <a:t>etc</a:t>
            </a:r>
            <a:endParaRPr lang="en-GB" b="0" dirty="0"/>
          </a:p>
          <a:p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Shared local IT support &amp; infrastructure</a:t>
            </a:r>
          </a:p>
          <a:p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Insurance cost from common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Improved sales and marketing</a:t>
            </a:r>
          </a:p>
          <a:p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Economies of sc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Reduced staff and related costs</a:t>
            </a:r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Proposal obviously subject to legal and financial due-diligence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stain PLC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658C84B-3D39-39FB-1B98-3855628F65FD}"/>
              </a:ext>
            </a:extLst>
          </p:cNvPr>
          <p:cNvSpPr/>
          <p:nvPr/>
        </p:nvSpPr>
        <p:spPr>
          <a:xfrm>
            <a:off x="7620000" y="152400"/>
            <a:ext cx="1524000" cy="70440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9358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Rationale for Acquisition of Costain PLC</a:t>
            </a:r>
          </a:p>
          <a:p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Costain has a strong Global Brand identity and Repu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Established business since 1865, Profitable and a Market Leader in its core Growth Markets of Transportation, Water, Energy and Defence, has a £4.2bn committed Order Book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Results in 2019/2020 were impacted by One-off Costs: due to impact of charges on the A465 contract (£45.4 million) and Peterborough &amp;  Huntingdon contract (£49.3 million), the result of an arbitration award (£9.7m) and aggregate charges for the loss on disposal and asset impairment  for the Group’s non-core business assets in Spain (£8.9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Share price has suffered from One-off Losses and </a:t>
            </a:r>
            <a:r>
              <a:rPr lang="en-GB" b="0" dirty="0"/>
              <a:t>current Market Cap is only £107m, with Net Cash of £119m, making the Acquisition/ Enterprise Value of Costain attractive</a:t>
            </a: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Productivity Levels affected by Covid-19 have since been restored ( up to 90% by July 202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Adjusted Operating Profits were £18m and £30m in 2020/2021 respectively before Adjusting Items, and 2022/23 Profit forecasts  are positive and growing – representing instant access to profitability, as well as utilization of historic Tax Losses, and synergistic savings post acquisition</a:t>
            </a:r>
          </a:p>
          <a:p>
            <a:endParaRPr lang="en-US" dirty="0"/>
          </a:p>
          <a:p>
            <a:r>
              <a:rPr lang="en-US" dirty="0"/>
              <a:t>Post Acquisition Growth Strategy</a:t>
            </a:r>
          </a:p>
          <a:p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Realization of Synergy Savings in Overheads (Offices, Legal, HR, Finance, IT, Insurances, </a:t>
            </a:r>
            <a:r>
              <a:rPr lang="en-US" b="0" dirty="0" err="1"/>
              <a:t>etc</a:t>
            </a:r>
            <a:r>
              <a:rPr lang="en-US" b="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Economies of Sc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Merged Management Changes, improved Leadership, Marketing, Operational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Access to new Overseas Markets and investment in related Market growth and Diversifica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siness Case - Summar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8D3564E-66E1-586B-9B4C-1B309CF0F318}"/>
              </a:ext>
            </a:extLst>
          </p:cNvPr>
          <p:cNvSpPr/>
          <p:nvPr/>
        </p:nvSpPr>
        <p:spPr>
          <a:xfrm>
            <a:off x="7620000" y="152400"/>
            <a:ext cx="1524000" cy="70440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9523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b="0" dirty="0"/>
              <a:t>The key has been to identify a company that is well know, is profitable, has potential future growth prospects, a confirmed order book, and presents opportunity to utilise any tax losses and maximise potential return.</a:t>
            </a:r>
          </a:p>
          <a:p>
            <a:endParaRPr lang="en-GB" dirty="0"/>
          </a:p>
          <a:p>
            <a:r>
              <a:rPr lang="en-GB" dirty="0" err="1"/>
              <a:t>Costain</a:t>
            </a:r>
            <a:r>
              <a:rPr lang="en-GB" dirty="0"/>
              <a:t> PLC fits this criteria, with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Established business since 186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Profitable in core activities and mark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£4.2bn committed order book, with £2 </a:t>
            </a:r>
            <a:r>
              <a:rPr lang="en-GB" b="0" dirty="0" err="1"/>
              <a:t>bn</a:t>
            </a:r>
            <a:r>
              <a:rPr lang="en-GB" b="0" dirty="0"/>
              <a:t> orders secured in first 6 months of 20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6 months results to June 2020 reflects pre-tax loss of £92.3M, but r</a:t>
            </a:r>
            <a:r>
              <a:rPr lang="en-US" b="0" dirty="0" err="1"/>
              <a:t>esults</a:t>
            </a:r>
            <a:r>
              <a:rPr lang="en-US" b="0" dirty="0"/>
              <a:t> impacted by extraordinary charges due to A465 contract (£45.4 million) and Peterborough &amp; Huntingdon contract (£49.3 million); with £3.8M pre-tax profits from other activ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Current share price is 38.9p with market cap based on c.275m issued shares of £106.87M. 12 month high at £2.17 with market cap then at £597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0" dirty="0"/>
          </a:p>
          <a:p>
            <a:endParaRPr lang="en-GB" b="0" dirty="0"/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siness Case - Acquisi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6400" y="4343037"/>
            <a:ext cx="5791200" cy="189576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7AAA707-750C-FE68-6FFC-CFEA54FBA5FF}"/>
              </a:ext>
            </a:extLst>
          </p:cNvPr>
          <p:cNvSpPr/>
          <p:nvPr/>
        </p:nvSpPr>
        <p:spPr>
          <a:xfrm>
            <a:off x="7620000" y="152400"/>
            <a:ext cx="1524000" cy="70440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38959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Core Markets:</a:t>
            </a:r>
          </a:p>
          <a:p>
            <a:endParaRPr lang="en-GB" dirty="0"/>
          </a:p>
          <a:p>
            <a:pPr marL="342900" indent="-342900">
              <a:buAutoNum type="arabicPeriod"/>
            </a:pPr>
            <a:r>
              <a:rPr lang="en-GB" dirty="0"/>
              <a:t>Transportation</a:t>
            </a:r>
          </a:p>
          <a:p>
            <a:r>
              <a:rPr lang="en-US" dirty="0"/>
              <a:t>	</a:t>
            </a:r>
            <a:r>
              <a:rPr lang="en-US" b="0" dirty="0"/>
              <a:t>- Highways England RIS2 and Network Rail CP6</a:t>
            </a:r>
          </a:p>
          <a:p>
            <a:r>
              <a:rPr lang="en-US" b="0" dirty="0"/>
              <a:t>	- HS2 </a:t>
            </a:r>
          </a:p>
          <a:p>
            <a:r>
              <a:rPr lang="en-US" b="0" dirty="0"/>
              <a:t>	- Government’s Project SPEED</a:t>
            </a:r>
          </a:p>
          <a:p>
            <a:r>
              <a:rPr lang="en-US" b="0" dirty="0"/>
              <a:t>	- Aviation clients</a:t>
            </a:r>
          </a:p>
          <a:p>
            <a:pPr marL="342900" indent="-342900">
              <a:buAutoNum type="arabicPeriod" startAt="2"/>
            </a:pPr>
            <a:r>
              <a:rPr lang="en-US" dirty="0"/>
              <a:t>Water</a:t>
            </a:r>
          </a:p>
          <a:p>
            <a:r>
              <a:rPr lang="en-US" dirty="0"/>
              <a:t>	</a:t>
            </a:r>
            <a:r>
              <a:rPr lang="en-US" b="0" dirty="0"/>
              <a:t>- Water companies progressing approved AMP7 investment programs</a:t>
            </a:r>
          </a:p>
          <a:p>
            <a:r>
              <a:rPr lang="en-US" b="0" dirty="0"/>
              <a:t>	- Clients include Anglian Water and Thames Tideway</a:t>
            </a:r>
            <a:endParaRPr lang="en-US" dirty="0"/>
          </a:p>
          <a:p>
            <a:pPr marL="342900" indent="-342900">
              <a:buAutoNum type="arabicPeriod" startAt="3"/>
            </a:pPr>
            <a:r>
              <a:rPr lang="en-US" dirty="0"/>
              <a:t>Energy</a:t>
            </a:r>
          </a:p>
          <a:p>
            <a:r>
              <a:rPr lang="en-US" dirty="0"/>
              <a:t>	</a:t>
            </a:r>
            <a:r>
              <a:rPr lang="en-US" b="0" dirty="0"/>
              <a:t>- Energy investment programs</a:t>
            </a:r>
          </a:p>
          <a:p>
            <a:r>
              <a:rPr lang="en-US" b="0" dirty="0"/>
              <a:t>	- Government progressing pathfinder schemes looking to increase zero</a:t>
            </a:r>
          </a:p>
          <a:p>
            <a:r>
              <a:rPr lang="en-US" b="0" dirty="0"/>
              <a:t>	  carbon energy</a:t>
            </a:r>
          </a:p>
          <a:p>
            <a:r>
              <a:rPr lang="en-US" b="0" dirty="0"/>
              <a:t>	- No longer pursuing Energy EPC contracts</a:t>
            </a:r>
          </a:p>
          <a:p>
            <a:pPr marL="342900" indent="-342900">
              <a:buAutoNum type="arabicPeriod" startAt="4"/>
            </a:pPr>
            <a:r>
              <a:rPr lang="en-US" dirty="0" err="1"/>
              <a:t>Defence</a:t>
            </a:r>
            <a:endParaRPr lang="en-US" dirty="0"/>
          </a:p>
          <a:p>
            <a:r>
              <a:rPr lang="en-US" dirty="0"/>
              <a:t>	</a:t>
            </a:r>
            <a:r>
              <a:rPr lang="en-US" b="0" dirty="0"/>
              <a:t>- Critical </a:t>
            </a:r>
            <a:r>
              <a:rPr lang="en-US" b="0" dirty="0" err="1"/>
              <a:t>defence</a:t>
            </a:r>
            <a:r>
              <a:rPr lang="en-US" b="0" dirty="0"/>
              <a:t> equipment related programs</a:t>
            </a:r>
          </a:p>
          <a:p>
            <a:endParaRPr lang="en-US" dirty="0"/>
          </a:p>
          <a:p>
            <a:endParaRPr lang="en-US" b="0" dirty="0"/>
          </a:p>
          <a:p>
            <a:r>
              <a:rPr lang="en-US" b="0" dirty="0"/>
              <a:t>	</a:t>
            </a:r>
          </a:p>
          <a:p>
            <a:r>
              <a:rPr lang="en-US" b="0" dirty="0"/>
              <a:t>	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Costain</a:t>
            </a:r>
            <a:r>
              <a:rPr lang="en-GB" dirty="0"/>
              <a:t> PLC - Overview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81EF9D4-5C11-6E4D-D30D-37745081D1BE}"/>
              </a:ext>
            </a:extLst>
          </p:cNvPr>
          <p:cNvSpPr/>
          <p:nvPr/>
        </p:nvSpPr>
        <p:spPr>
          <a:xfrm>
            <a:off x="7620000" y="152400"/>
            <a:ext cx="1524000" cy="70440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2654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65538" y="1066800"/>
            <a:ext cx="8016462" cy="5105400"/>
          </a:xfrm>
        </p:spPr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Costain</a:t>
            </a:r>
            <a:r>
              <a:rPr lang="en-GB" dirty="0"/>
              <a:t> PLC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741" y="1143001"/>
            <a:ext cx="8638660" cy="449579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609AC4E-7D64-8774-9C84-75AFE155B091}"/>
              </a:ext>
            </a:extLst>
          </p:cNvPr>
          <p:cNvSpPr/>
          <p:nvPr/>
        </p:nvSpPr>
        <p:spPr>
          <a:xfrm>
            <a:off x="7620000" y="152400"/>
            <a:ext cx="1524000" cy="70440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8819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Notes to Financial summary:</a:t>
            </a:r>
          </a:p>
          <a:p>
            <a:endParaRPr lang="en-GB" dirty="0"/>
          </a:p>
          <a:p>
            <a:pPr marL="342900" indent="-342900">
              <a:buAutoNum type="arabicPeriod"/>
            </a:pPr>
            <a:r>
              <a:rPr lang="en-US" dirty="0"/>
              <a:t>Results before impact of charges due to A465 contract (£45.4 million) and Peterborough &amp;</a:t>
            </a:r>
          </a:p>
          <a:p>
            <a:r>
              <a:rPr lang="en-US" dirty="0"/>
              <a:t>       Huntingdon contract (£49.3 million). </a:t>
            </a: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 startAt="3"/>
            </a:pPr>
            <a:r>
              <a:rPr lang="en-US" dirty="0"/>
              <a:t>2019 reported figures include the impact of one-off cost of £9.7M in respect of an arbitration</a:t>
            </a:r>
          </a:p>
          <a:p>
            <a:r>
              <a:rPr lang="en-US" dirty="0"/>
              <a:t>       award and a one-off aggregate charge of £8.9M for the loss on disposal and asset impairment</a:t>
            </a:r>
          </a:p>
          <a:p>
            <a:r>
              <a:rPr lang="en-US" dirty="0"/>
              <a:t>       for the Group’s non-core business assets in Spain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Costain</a:t>
            </a:r>
            <a:r>
              <a:rPr lang="en-GB" dirty="0"/>
              <a:t> PLC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6799532-E008-7453-95AD-94D22858BDED}"/>
              </a:ext>
            </a:extLst>
          </p:cNvPr>
          <p:cNvSpPr/>
          <p:nvPr/>
        </p:nvSpPr>
        <p:spPr>
          <a:xfrm>
            <a:off x="7620000" y="152400"/>
            <a:ext cx="1524000" cy="70440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1746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000" y="1066800"/>
            <a:ext cx="8492400" cy="5172000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06000" y="1066800"/>
            <a:ext cx="8492400" cy="5172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Costain</a:t>
            </a:r>
            <a:r>
              <a:rPr lang="en-GB" dirty="0"/>
              <a:t> PLC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4BDAE7D-D82E-75F9-BB36-98A30544F139}"/>
              </a:ext>
            </a:extLst>
          </p:cNvPr>
          <p:cNvSpPr/>
          <p:nvPr/>
        </p:nvSpPr>
        <p:spPr>
          <a:xfrm>
            <a:off x="7620000" y="152400"/>
            <a:ext cx="1524000" cy="70440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35426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000" y="1173600"/>
            <a:ext cx="8533200" cy="4446150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Costain</a:t>
            </a:r>
            <a:r>
              <a:rPr lang="en-GB" dirty="0"/>
              <a:t> PLC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181966-7DC2-D3C3-F421-74EE91105634}"/>
              </a:ext>
            </a:extLst>
          </p:cNvPr>
          <p:cNvSpPr/>
          <p:nvPr/>
        </p:nvSpPr>
        <p:spPr>
          <a:xfrm>
            <a:off x="7620000" y="152400"/>
            <a:ext cx="1524000" cy="70440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9773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1C4BD69-6EE0-1FB7-53A5-49E2D8249E22}"/>
              </a:ext>
            </a:extLst>
          </p:cNvPr>
          <p:cNvSpPr/>
          <p:nvPr/>
        </p:nvSpPr>
        <p:spPr>
          <a:xfrm>
            <a:off x="7620000" y="152400"/>
            <a:ext cx="1524000" cy="70440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6F4D8DF-7BB2-9C6F-00CD-D741B47111C2}"/>
              </a:ext>
            </a:extLst>
          </p:cNvPr>
          <p:cNvSpPr txBox="1"/>
          <p:nvPr/>
        </p:nvSpPr>
        <p:spPr>
          <a:xfrm>
            <a:off x="566424" y="1238400"/>
            <a:ext cx="62484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0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 since 2020</a:t>
            </a:r>
          </a:p>
        </p:txBody>
      </p:sp>
      <p:pic>
        <p:nvPicPr>
          <p:cNvPr id="5" name="Picture 4" descr="Table&#10;&#10;Description automatically generated">
            <a:extLst>
              <a:ext uri="{FF2B5EF4-FFF2-40B4-BE49-F238E27FC236}">
                <a16:creationId xmlns:a16="http://schemas.microsoft.com/office/drawing/2014/main" id="{DBC6A343-EF4F-BE42-DF22-4E2F76F3B3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2031839"/>
            <a:ext cx="8434194" cy="36523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4A7094D-AD4C-6A6A-9239-25F1C19B0CF8}"/>
              </a:ext>
            </a:extLst>
          </p:cNvPr>
          <p:cNvSpPr txBox="1"/>
          <p:nvPr/>
        </p:nvSpPr>
        <p:spPr>
          <a:xfrm>
            <a:off x="1371600" y="0"/>
            <a:ext cx="2438400" cy="4572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E9B0BE0-8FE4-0752-0806-2DEE23794665}"/>
              </a:ext>
            </a:extLst>
          </p:cNvPr>
          <p:cNvSpPr txBox="1"/>
          <p:nvPr/>
        </p:nvSpPr>
        <p:spPr>
          <a:xfrm>
            <a:off x="559497" y="5684201"/>
            <a:ext cx="4191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justed 2021 Group Operating Profit £30.1m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910EBC76-C727-E9FF-1FAE-1D31DA6C185D}"/>
              </a:ext>
            </a:extLst>
          </p:cNvPr>
          <p:cNvSpPr txBox="1">
            <a:spLocks/>
          </p:cNvSpPr>
          <p:nvPr/>
        </p:nvSpPr>
        <p:spPr>
          <a:xfrm>
            <a:off x="213092" y="381600"/>
            <a:ext cx="7330708" cy="47520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2400" kern="1200" dirty="0">
                <a:solidFill>
                  <a:schemeClr val="accent3"/>
                </a:solidFill>
                <a:latin typeface="Arial"/>
                <a:ea typeface="ＭＳ Ｐゴシック" charset="0"/>
                <a:cs typeface="Arial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GB"/>
              <a:t>Costain PLC</a:t>
            </a:r>
          </a:p>
        </p:txBody>
      </p:sp>
    </p:spTree>
    <p:extLst>
      <p:ext uri="{BB962C8B-B14F-4D97-AF65-F5344CB8AC3E}">
        <p14:creationId xmlns:p14="http://schemas.microsoft.com/office/powerpoint/2010/main" val="22679333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Rationale for the acquisition:</a:t>
            </a:r>
          </a:p>
          <a:p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Expand existing core market sectors</a:t>
            </a:r>
          </a:p>
          <a:p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Market penetration into new market sectors with track history</a:t>
            </a:r>
          </a:p>
          <a:p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Instant access to profit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Increased market cap following restructure, to optimise short-term retu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Secured order back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Utilisation of tax los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Market awareness and greater UK and grow International cove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Strong global brand identity and reputation</a:t>
            </a:r>
          </a:p>
          <a:p>
            <a:endParaRPr lang="en-GB" b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stain PLC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EEDA736-7578-31CD-C116-B9153414AA5A}"/>
              </a:ext>
            </a:extLst>
          </p:cNvPr>
          <p:cNvSpPr/>
          <p:nvPr/>
        </p:nvSpPr>
        <p:spPr>
          <a:xfrm>
            <a:off x="7620000" y="152400"/>
            <a:ext cx="1524000" cy="70440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5287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Content Slide Footer 1">
  <a:themeElements>
    <a:clrScheme name="MW Colours 1March">
      <a:dk1>
        <a:sysClr val="windowText" lastClr="000000"/>
      </a:dk1>
      <a:lt1>
        <a:srgbClr val="000000"/>
      </a:lt1>
      <a:dk2>
        <a:srgbClr val="006BA6"/>
      </a:dk2>
      <a:lt2>
        <a:srgbClr val="FFFFFF"/>
      </a:lt2>
      <a:accent1>
        <a:srgbClr val="0085CA"/>
      </a:accent1>
      <a:accent2>
        <a:srgbClr val="EA7600"/>
      </a:accent2>
      <a:accent3>
        <a:srgbClr val="00B5E2"/>
      </a:accent3>
      <a:accent4>
        <a:srgbClr val="279989"/>
      </a:accent4>
      <a:accent5>
        <a:srgbClr val="84BD00"/>
      </a:accent5>
      <a:accent6>
        <a:srgbClr val="005EB8"/>
      </a:accent6>
      <a:hlink>
        <a:srgbClr val="4698CB"/>
      </a:hlink>
      <a:folHlink>
        <a:srgbClr val="BE3A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6350">
          <a:solidFill>
            <a:srgbClr val="00658C"/>
          </a:solidFill>
        </a:ln>
        <a:effectLst/>
      </a:spPr>
      <a:bodyPr rtlCol="0" anchor="ctr"/>
      <a:lstStyle>
        <a:defPPr algn="ctr">
          <a:defRPr sz="1400" dirty="0" err="1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EEC0F7B0-51EF-40F3-A2F7-D14A61CB0265}" vid="{88BA0294-B2B6-4952-8511-118E5384F7A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79</TotalTime>
  <Words>769</Words>
  <Application>Microsoft Office PowerPoint</Application>
  <PresentationFormat>On-screen Show (4:3)</PresentationFormat>
  <Paragraphs>107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Calibri</vt:lpstr>
      <vt:lpstr>4_Content Slide Footer 1</vt:lpstr>
      <vt:lpstr>think-cell Slide</vt:lpstr>
      <vt:lpstr>Business Case - Acquisition</vt:lpstr>
      <vt:lpstr>Business Case - Acquisition</vt:lpstr>
      <vt:lpstr>Costain PLC - Overview</vt:lpstr>
      <vt:lpstr>Costain PLC</vt:lpstr>
      <vt:lpstr>Costain PLC</vt:lpstr>
      <vt:lpstr>Costain PLC</vt:lpstr>
      <vt:lpstr>Costain PLC</vt:lpstr>
      <vt:lpstr>PowerPoint Presentation</vt:lpstr>
      <vt:lpstr>Costain PLC</vt:lpstr>
      <vt:lpstr>Costain PLC</vt:lpstr>
      <vt:lpstr>Business Case - Summary</vt:lpstr>
    </vt:vector>
  </TitlesOfParts>
  <Company>MW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nver, David</dc:creator>
  <cp:lastModifiedBy>Greg Malpass</cp:lastModifiedBy>
  <cp:revision>53</cp:revision>
  <cp:lastPrinted>2022-06-16T14:21:43Z</cp:lastPrinted>
  <dcterms:created xsi:type="dcterms:W3CDTF">2017-11-15T16:40:15Z</dcterms:created>
  <dcterms:modified xsi:type="dcterms:W3CDTF">2022-11-05T18:15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a6c6d4b-2a1d-4457-a4f8-5d269794b894_Enabled">
    <vt:lpwstr>True</vt:lpwstr>
  </property>
  <property fmtid="{D5CDD505-2E9C-101B-9397-08002B2CF9AE}" pid="3" name="MSIP_Label_2a6c6d4b-2a1d-4457-a4f8-5d269794b894_SiteId">
    <vt:lpwstr>6f8cfef9-0106-42cd-9543-e208bab4fcf1</vt:lpwstr>
  </property>
  <property fmtid="{D5CDD505-2E9C-101B-9397-08002B2CF9AE}" pid="4" name="MSIP_Label_2a6c6d4b-2a1d-4457-a4f8-5d269794b894_Owner">
    <vt:lpwstr>Marcos.Panayiotou@ekfb.com</vt:lpwstr>
  </property>
  <property fmtid="{D5CDD505-2E9C-101B-9397-08002B2CF9AE}" pid="5" name="MSIP_Label_2a6c6d4b-2a1d-4457-a4f8-5d269794b894_SetDate">
    <vt:lpwstr>2022-06-16T07:21:35.8199021Z</vt:lpwstr>
  </property>
  <property fmtid="{D5CDD505-2E9C-101B-9397-08002B2CF9AE}" pid="6" name="MSIP_Label_2a6c6d4b-2a1d-4457-a4f8-5d269794b894_Name">
    <vt:lpwstr>General</vt:lpwstr>
  </property>
  <property fmtid="{D5CDD505-2E9C-101B-9397-08002B2CF9AE}" pid="7" name="MSIP_Label_2a6c6d4b-2a1d-4457-a4f8-5d269794b894_Application">
    <vt:lpwstr>Microsoft Azure Information Protection</vt:lpwstr>
  </property>
  <property fmtid="{D5CDD505-2E9C-101B-9397-08002B2CF9AE}" pid="8" name="MSIP_Label_2a6c6d4b-2a1d-4457-a4f8-5d269794b894_ActionId">
    <vt:lpwstr>83f6ea62-0c36-46e1-80da-4b98bb920fab</vt:lpwstr>
  </property>
  <property fmtid="{D5CDD505-2E9C-101B-9397-08002B2CF9AE}" pid="9" name="MSIP_Label_2a6c6d4b-2a1d-4457-a4f8-5d269794b894_Extended_MSFT_Method">
    <vt:lpwstr>Automatic</vt:lpwstr>
  </property>
  <property fmtid="{D5CDD505-2E9C-101B-9397-08002B2CF9AE}" pid="10" name="Sensitivity">
    <vt:lpwstr>General</vt:lpwstr>
  </property>
</Properties>
</file>